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6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1"/>
  </p:notesMasterIdLst>
  <p:handoutMasterIdLst>
    <p:handoutMasterId r:id="rId12"/>
  </p:handoutMasterIdLst>
  <p:sldIdLst>
    <p:sldId id="311" r:id="rId4"/>
    <p:sldId id="340" r:id="rId5"/>
    <p:sldId id="363" r:id="rId6"/>
    <p:sldId id="364" r:id="rId7"/>
    <p:sldId id="365" r:id="rId8"/>
    <p:sldId id="329" r:id="rId9"/>
    <p:sldId id="349" r:id="rId10"/>
  </p:sldIdLst>
  <p:sldSz cx="9906000" cy="6858000" type="A4"/>
  <p:notesSz cx="6896100" cy="10033000"/>
  <p:custDataLst>
    <p:tags r:id="rId13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3861" autoAdjust="0"/>
  </p:normalViewPr>
  <p:slideViewPr>
    <p:cSldViewPr>
      <p:cViewPr varScale="1">
        <p:scale>
          <a:sx n="83" d="100"/>
          <a:sy n="83" d="100"/>
        </p:scale>
        <p:origin x="-1464" y="-6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/27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cratch-Game-Creation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cratch-Game-Creation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cratch-Game-Creation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cratch-Game-Creation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Scratch-Game-Creation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Scratch-Game-Creation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Scratch-Game-Creation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Scratch-Game-Creation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1.png"/><Relationship Id="rId2" Type="http://schemas.openxmlformats.org/officeDocument/2006/relationships/tags" Target="../tags/tag6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3.png"/><Relationship Id="rId2" Type="http://schemas.openxmlformats.org/officeDocument/2006/relationships/tags" Target="../tags/tag6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2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5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7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6.vml"/><Relationship Id="rId4" Type="http://schemas.openxmlformats.org/officeDocument/2006/relationships/oleObject" Target="../embeddings/oleObject2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0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242086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err="1" smtClean="0">
                <a:effectLst/>
                <a:latin typeface="Comic Sans MS"/>
              </a:rPr>
              <a:t>Tworzenie</a:t>
            </a:r>
            <a:r>
              <a:rPr lang="en-US" sz="4400" dirty="0" smtClean="0">
                <a:effectLst/>
                <a:latin typeface="Comic Sans MS"/>
              </a:rPr>
              <a:t> </a:t>
            </a:r>
            <a:r>
              <a:rPr lang="en-US" sz="4400" dirty="0" err="1" smtClean="0">
                <a:effectLst/>
                <a:latin typeface="Comic Sans MS"/>
              </a:rPr>
              <a:t>gier</a:t>
            </a:r>
            <a:endParaRPr lang="en-GB" dirty="0"/>
          </a:p>
        </p:txBody>
      </p:sp>
      <p:pic>
        <p:nvPicPr>
          <p:cNvPr id="6" name="Picture 6" descr="Warsztat 10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905410" y="4365130"/>
            <a:ext cx="1838325" cy="1828800"/>
          </a:xfrm>
          <a:prstGeom prst="rect">
            <a:avLst/>
          </a:prstGeom>
          <a:noFill/>
        </p:spPr>
      </p:pic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84560" y="1916790"/>
            <a:ext cx="4076700" cy="1371600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995075" y="4365130"/>
            <a:ext cx="1838325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Bloki</a:t>
            </a:r>
            <a:r>
              <a:rPr lang="pl-PL" dirty="0" smtClean="0"/>
              <a:t> wykorzystywane w gr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cratch-Game-Creation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4608640" cy="12191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Ruch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aw aby duszki się poruszały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5169030" y="1412720"/>
            <a:ext cx="4608640" cy="21603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Kontakt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awdź, czy 2 duszki dotykają się lub czy duszek dotyka pola w określonym kolorze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37219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208480" y="2924930"/>
            <a:ext cx="2266950" cy="260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7221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177170" y="3717040"/>
            <a:ext cx="2571750" cy="161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160890" y="486920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6850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Bloki</a:t>
            </a:r>
            <a:r>
              <a:rPr lang="pl-PL" dirty="0" smtClean="0"/>
              <a:t> wykorzystywane w gr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cratch-Game-Creation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4608640" cy="12191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idoczność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każ lub schowaj duszka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5169030" y="1412720"/>
            <a:ext cx="4608640" cy="10081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zas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Odmierzaj czas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0685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568530" y="2564880"/>
            <a:ext cx="1562100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Content Placeholder 7"/>
          <p:cNvSpPr>
            <a:spLocks noGrp="1"/>
          </p:cNvSpPr>
          <p:nvPr>
            <p:ph idx="4294967295"/>
          </p:nvPr>
        </p:nvSpPr>
        <p:spPr>
          <a:xfrm>
            <a:off x="2504660" y="3505981"/>
            <a:ext cx="4608640" cy="165125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Losowość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generuj liczbę losową z danego zadanego przedziału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06852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40790" y="5373270"/>
            <a:ext cx="231457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6853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105160" y="2492870"/>
            <a:ext cx="23336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761390" y="422111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787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Bloki</a:t>
            </a:r>
            <a:r>
              <a:rPr lang="pl-PL" dirty="0" smtClean="0"/>
              <a:t> wykorzystywane w gr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cratch-Game-Creation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4608640" cy="12191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Teksty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ównuj, zmieniaj słowa i zdania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5169030" y="1412720"/>
            <a:ext cx="4608640" cy="13681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mienne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zechowuj teksty i liczby w pamięci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7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2350" y="4797190"/>
            <a:ext cx="1059180" cy="1143000"/>
          </a:xfrm>
          <a:prstGeom prst="rect">
            <a:avLst/>
          </a:prstGeom>
          <a:noFill/>
        </p:spPr>
      </p:pic>
      <p:pic>
        <p:nvPicPr>
          <p:cNvPr id="207875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856570" y="3068950"/>
            <a:ext cx="1924050" cy="197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7876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321190" y="2852920"/>
            <a:ext cx="2514600" cy="302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889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Bloki</a:t>
            </a:r>
            <a:r>
              <a:rPr lang="pl-PL" dirty="0" smtClean="0"/>
              <a:t> wykorzystywane w grach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Scratch-Game-Creation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4608640" cy="165623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ównania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równuj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artości,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aby podejmować decyzje w grze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5169030" y="1412720"/>
            <a:ext cx="4608640" cy="13681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rzyciski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Wingdings" pitchFamily="2" charset="2"/>
              <a:buChar char="Ø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praw, aby duszek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reagował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na przyciski</a:t>
            </a:r>
          </a:p>
          <a:p>
            <a:pPr marL="525463" lvl="1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None/>
            </a:pP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7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224760" y="3140960"/>
            <a:ext cx="1059180" cy="1143000"/>
          </a:xfrm>
          <a:prstGeom prst="rect">
            <a:avLst/>
          </a:prstGeom>
          <a:noFill/>
        </p:spPr>
      </p:pic>
      <p:pic>
        <p:nvPicPr>
          <p:cNvPr id="208899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80490" y="3068950"/>
            <a:ext cx="1628775" cy="296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8900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177170" y="3140960"/>
            <a:ext cx="2847975" cy="220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8</Words>
  <Application>Microsoft Office PowerPoint</Application>
  <PresentationFormat>A4 Paper (210x297 mm)</PresentationFormat>
  <Paragraphs>41</Paragraphs>
  <Slides>7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Blank</vt:lpstr>
      <vt:lpstr>Closing slides</vt:lpstr>
      <vt:lpstr>Section break</vt:lpstr>
      <vt:lpstr>think-cell Slide</vt:lpstr>
      <vt:lpstr>           Tworzenie gier</vt:lpstr>
      <vt:lpstr>Bloki wykorzystywane w grach</vt:lpstr>
      <vt:lpstr>Bloki wykorzystywane w grach</vt:lpstr>
      <vt:lpstr>Bloki wykorzystywane w grach</vt:lpstr>
      <vt:lpstr>Bloki wykorzystywane w grach</vt:lpstr>
      <vt:lpstr>Slide 6</vt:lpstr>
      <vt:lpstr>Slide 7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ZPACHOLC</cp:lastModifiedBy>
  <cp:revision>86</cp:revision>
  <dcterms:created xsi:type="dcterms:W3CDTF">2014-10-21T19:55:20Z</dcterms:created>
  <dcterms:modified xsi:type="dcterms:W3CDTF">2015-01-27T11:56:53Z</dcterms:modified>
</cp:coreProperties>
</file>